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2"/>
  </p:notesMaster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6197"/>
  </p:normalViewPr>
  <p:slideViewPr>
    <p:cSldViewPr snapToGrid="0">
      <p:cViewPr varScale="1">
        <p:scale>
          <a:sx n="121" d="100"/>
          <a:sy n="121" d="100"/>
        </p:scale>
        <p:origin x="200" y="24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667B5F-7638-A84A-BA5C-E1B50A5081B3}" type="datetimeFigureOut">
              <a:rPr lang="en-US" smtClean="0"/>
              <a:t>11/18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B92ABB-C5E4-8D43-9484-869712BC96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88617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Gradient Dark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B47B586-CFEE-4C32-8227-001B5A89C3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key message here 54pt</a:t>
            </a:r>
          </a:p>
        </p:txBody>
      </p:sp>
      <p:sp>
        <p:nvSpPr>
          <p:cNvPr id="11" name="GTS_WH">
            <a:extLst>
              <a:ext uri="{FF2B5EF4-FFF2-40B4-BE49-F238E27FC236}">
                <a16:creationId xmlns:a16="http://schemas.microsoft.com/office/drawing/2014/main" id="{2FF57A0A-C5DD-42B6-8DD3-E5EA041C7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 bwMode="black">
          <a:xfrm>
            <a:off x="381468" y="6483676"/>
            <a:ext cx="183295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DB76EAFD-CFBB-5D7A-BF2B-FE6E936D6D73}"/>
              </a:ext>
            </a:extLst>
          </p:cNvPr>
          <p:cNvSpPr txBox="1">
            <a:spLocks/>
          </p:cNvSpPr>
          <p:nvPr userDrawn="1"/>
        </p:nvSpPr>
        <p:spPr>
          <a:xfrm>
            <a:off x="11484746" y="6488731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7999F434-375D-7840-CAE8-8DDD86A9CE5C}"/>
              </a:ext>
            </a:extLst>
          </p:cNvPr>
          <p:cNvSpPr txBox="1">
            <a:spLocks/>
          </p:cNvSpPr>
          <p:nvPr userDrawn="1"/>
        </p:nvSpPr>
        <p:spPr>
          <a:xfrm>
            <a:off x="7315200" y="6486940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23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6069299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ong Headline-sub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363034-F9EC-4A95-91E0-2E801974931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554140" y="6490025"/>
            <a:ext cx="256860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Graphik-Light" panose="020B040303020206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3 Accenture. All rights reserved.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7385B6C-9298-6654-E90D-DC596B1269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Place headline here (36pt, min 30pt)</a:t>
            </a:r>
            <a:endParaRPr lang="en-US">
              <a:gradFill>
                <a:gsLst>
                  <a:gs pos="0">
                    <a:srgbClr val="82F5D3"/>
                  </a:gs>
                  <a:gs pos="25000">
                    <a:srgbClr val="87D1DA"/>
                  </a:gs>
                  <a:gs pos="75000">
                    <a:srgbClr val="917CE8"/>
                  </a:gs>
                  <a:gs pos="49000">
                    <a:srgbClr val="8DA5E2"/>
                  </a:gs>
                  <a:gs pos="100000">
                    <a:srgbClr val="9C25F9"/>
                  </a:gs>
                </a:gsLst>
                <a:lin ang="3000000" scaled="0"/>
              </a:gradFill>
              <a:latin typeface="Graphik Semibold" panose="020B0503030202060203" pitchFamily="34" charset="77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400F004-21B1-0627-39B3-2611E0E1E463}"/>
              </a:ext>
            </a:extLst>
          </p:cNvPr>
          <p:cNvSpPr/>
          <p:nvPr userDrawn="1"/>
        </p:nvSpPr>
        <p:spPr>
          <a:xfrm>
            <a:off x="0" y="0"/>
            <a:ext cx="12192000" cy="201168"/>
          </a:xfrm>
          <a:prstGeom prst="rect">
            <a:avLst/>
          </a:prstGeom>
          <a:gradFill>
            <a:gsLst>
              <a:gs pos="0">
                <a:srgbClr val="82F5D3"/>
              </a:gs>
              <a:gs pos="25000">
                <a:srgbClr val="87D1DA"/>
              </a:gs>
              <a:gs pos="75000">
                <a:srgbClr val="917CE8"/>
              </a:gs>
              <a:gs pos="49000">
                <a:srgbClr val="8DA5E2"/>
              </a:gs>
              <a:gs pos="100000">
                <a:srgbClr val="9C25F9"/>
              </a:gs>
            </a:gsLst>
            <a:lin ang="3000000" scaled="0"/>
          </a:gradFill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80000"/>
              </a:lnSpc>
              <a:spcBef>
                <a:spcPct val="0"/>
              </a:spcBef>
            </a:pPr>
            <a:endParaRPr lang="en-US" sz="3600" b="1" err="1">
              <a:noFill/>
              <a:latin typeface="Graphik Semibold" panose="020B0503030202060203" pitchFamily="34" charset="77"/>
              <a:ea typeface="+mj-ea"/>
              <a:cs typeface="+mj-cs"/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3526B5-FCD5-082C-C273-BEA9E63A640C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1000" y="1471613"/>
            <a:ext cx="11430000" cy="4940300"/>
          </a:xfrm>
        </p:spPr>
        <p:txBody>
          <a:bodyPr/>
          <a:lstStyle>
            <a:lvl1pPr>
              <a:defRPr sz="1800" b="0" i="0">
                <a:latin typeface="Graphik Light" panose="020B0403030202060203" pitchFamily="34" charset="77"/>
              </a:defRPr>
            </a:lvl1pPr>
            <a:lvl2pPr>
              <a:defRPr sz="1600" b="0" i="0">
                <a:latin typeface="Graphik Light" panose="020B0403030202060203" pitchFamily="34" charset="77"/>
              </a:defRPr>
            </a:lvl2pPr>
            <a:lvl3pPr>
              <a:defRPr sz="1400" b="0" i="0">
                <a:latin typeface="Graphik Light" panose="020B0403030202060203" pitchFamily="34" charset="77"/>
              </a:defRPr>
            </a:lvl3pPr>
            <a:lvl4pPr>
              <a:defRPr sz="1400" b="0" i="0">
                <a:latin typeface="Graphik Light" panose="020B0403030202060203" pitchFamily="34" charset="77"/>
              </a:defRPr>
            </a:lvl4pPr>
            <a:lvl5pPr>
              <a:defRPr sz="1400" b="0" i="0">
                <a:latin typeface="Graphik Light" panose="020B0403030202060203" pitchFamily="34" charset="77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125955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ong Headline-sub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363034-F9EC-4A95-91E0-2E801974931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554140" y="6490025"/>
            <a:ext cx="256860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Graphik-Light" panose="020B040303020206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3 Accenture. All rights reserved.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7385B6C-9298-6654-E90D-DC596B1269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Place headline here (36pt, min 30pt)</a:t>
            </a:r>
            <a:endParaRPr lang="en-US">
              <a:gradFill>
                <a:gsLst>
                  <a:gs pos="0">
                    <a:srgbClr val="82F5D3"/>
                  </a:gs>
                  <a:gs pos="25000">
                    <a:srgbClr val="87D1DA"/>
                  </a:gs>
                  <a:gs pos="75000">
                    <a:srgbClr val="917CE8"/>
                  </a:gs>
                  <a:gs pos="49000">
                    <a:srgbClr val="8DA5E2"/>
                  </a:gs>
                  <a:gs pos="100000">
                    <a:srgbClr val="9C25F9"/>
                  </a:gs>
                </a:gsLst>
                <a:lin ang="3000000" scaled="0"/>
              </a:gradFill>
              <a:latin typeface="Graphik Semibold" panose="020B0503030202060203" pitchFamily="34" charset="77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400F004-21B1-0627-39B3-2611E0E1E463}"/>
              </a:ext>
            </a:extLst>
          </p:cNvPr>
          <p:cNvSpPr/>
          <p:nvPr userDrawn="1"/>
        </p:nvSpPr>
        <p:spPr>
          <a:xfrm>
            <a:off x="0" y="0"/>
            <a:ext cx="12192000" cy="201168"/>
          </a:xfrm>
          <a:prstGeom prst="rect">
            <a:avLst/>
          </a:prstGeom>
          <a:gradFill>
            <a:gsLst>
              <a:gs pos="0">
                <a:srgbClr val="82F5D3"/>
              </a:gs>
              <a:gs pos="25000">
                <a:srgbClr val="87D1DA"/>
              </a:gs>
              <a:gs pos="75000">
                <a:srgbClr val="917CE8"/>
              </a:gs>
              <a:gs pos="49000">
                <a:srgbClr val="8DA5E2"/>
              </a:gs>
              <a:gs pos="100000">
                <a:srgbClr val="9C25F9"/>
              </a:gs>
            </a:gsLst>
            <a:lin ang="3000000" scaled="0"/>
          </a:gradFill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80000"/>
              </a:lnSpc>
              <a:spcBef>
                <a:spcPct val="0"/>
              </a:spcBef>
            </a:pPr>
            <a:endParaRPr lang="en-US" sz="3600" b="1" err="1">
              <a:noFill/>
              <a:latin typeface="Graphik Semibold" panose="020B0503030202060203" pitchFamily="34" charset="77"/>
              <a:ea typeface="+mj-ea"/>
              <a:cs typeface="+mj-cs"/>
            </a:endParaRPr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A12812F5-E1B2-020D-4915-3CE9B214E6E9}"/>
              </a:ext>
            </a:extLst>
          </p:cNvPr>
          <p:cNvSpPr>
            <a:spLocks noGrp="1"/>
          </p:cNvSpPr>
          <p:nvPr>
            <p:ph type="tbl" sz="quarter" idx="21"/>
          </p:nvPr>
        </p:nvSpPr>
        <p:spPr>
          <a:xfrm>
            <a:off x="381000" y="1371601"/>
            <a:ext cx="11430000" cy="499745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32109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ong Headline-sub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363034-F9EC-4A95-91E0-2E801974931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554140" y="6490025"/>
            <a:ext cx="256860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Graphik-Light" panose="020B040303020206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GB"/>
              <a:t>Copyright © 2023 Accenture. All rights reserved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400F004-21B1-0627-39B3-2611E0E1E463}"/>
              </a:ext>
            </a:extLst>
          </p:cNvPr>
          <p:cNvSpPr/>
          <p:nvPr userDrawn="1"/>
        </p:nvSpPr>
        <p:spPr>
          <a:xfrm>
            <a:off x="0" y="0"/>
            <a:ext cx="12192000" cy="201168"/>
          </a:xfrm>
          <a:prstGeom prst="rect">
            <a:avLst/>
          </a:prstGeom>
          <a:gradFill>
            <a:gsLst>
              <a:gs pos="0">
                <a:srgbClr val="82F5D3"/>
              </a:gs>
              <a:gs pos="25000">
                <a:srgbClr val="87D1DA"/>
              </a:gs>
              <a:gs pos="75000">
                <a:srgbClr val="917CE8"/>
              </a:gs>
              <a:gs pos="49000">
                <a:srgbClr val="8DA5E2"/>
              </a:gs>
              <a:gs pos="100000">
                <a:srgbClr val="9C25F9"/>
              </a:gs>
            </a:gsLst>
            <a:lin ang="3000000" scaled="0"/>
          </a:gradFill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80000"/>
              </a:lnSpc>
              <a:spcBef>
                <a:spcPct val="0"/>
              </a:spcBef>
            </a:pPr>
            <a:endParaRPr lang="en-US" sz="3600" b="1" err="1">
              <a:noFill/>
              <a:latin typeface="Graphik Semibold" panose="020B0503030202060203" pitchFamily="34" charset="77"/>
              <a:ea typeface="+mj-ea"/>
              <a:cs typeface="+mj-cs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A7BAD11-2FE2-D47B-3D3B-A188DA71144F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380998" y="349254"/>
            <a:ext cx="11430000" cy="338554"/>
          </a:xfrm>
          <a:prstGeom prst="rect">
            <a:avLst/>
          </a:prstGeom>
        </p:spPr>
        <p:txBody>
          <a:bodyPr vert="horz" lIns="0" tIns="91440" rIns="0" bIns="0" rtlCol="0">
            <a:spAutoFit/>
          </a:bodyPr>
          <a:lstStyle>
            <a:lvl1pPr marL="0" indent="0">
              <a:buNone/>
              <a:defRPr sz="1600" b="0" i="0">
                <a:latin typeface="Graphik Medium" panose="020B0603030202060203" pitchFamily="34" charset="0"/>
              </a:defRPr>
            </a:lvl1pPr>
          </a:lstStyle>
          <a:p>
            <a:pPr lvl="0"/>
            <a:r>
              <a:rPr lang="en-US"/>
              <a:t>Place subhead here (20pt, min 16pt)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25619D1-203D-8A47-2EC1-EC5EBC9F26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9" y="1044504"/>
            <a:ext cx="11429999" cy="798830"/>
          </a:xfrm>
          <a:prstGeom prst="rect">
            <a:avLst/>
          </a:prstGeom>
        </p:spPr>
        <p:txBody>
          <a:bodyPr/>
          <a:lstStyle/>
          <a:p>
            <a:r>
              <a:rPr lang="en-GB">
                <a:gradFill>
                  <a:gsLst>
                    <a:gs pos="0">
                      <a:srgbClr val="82F5D3"/>
                    </a:gs>
                    <a:gs pos="25000">
                      <a:srgbClr val="87D1DA"/>
                    </a:gs>
                    <a:gs pos="75000">
                      <a:srgbClr val="917CE8"/>
                    </a:gs>
                    <a:gs pos="49000">
                      <a:srgbClr val="8DA5E2"/>
                    </a:gs>
                    <a:gs pos="100000">
                      <a:srgbClr val="9C25F9"/>
                    </a:gs>
                  </a:gsLst>
                  <a:lin ang="3000000" scaled="0"/>
                </a:gradFill>
                <a:latin typeface="Graphik Semibold" panose="020B0503030202060203" pitchFamily="34" charset="77"/>
              </a:rPr>
              <a:t>Place headline here (36pt, min 30pt)</a:t>
            </a:r>
            <a:endParaRPr lang="en-US">
              <a:gradFill>
                <a:gsLst>
                  <a:gs pos="0">
                    <a:srgbClr val="82F5D3"/>
                  </a:gs>
                  <a:gs pos="25000">
                    <a:srgbClr val="87D1DA"/>
                  </a:gs>
                  <a:gs pos="75000">
                    <a:srgbClr val="917CE8"/>
                  </a:gs>
                  <a:gs pos="49000">
                    <a:srgbClr val="8DA5E2"/>
                  </a:gs>
                  <a:gs pos="100000">
                    <a:srgbClr val="9C25F9"/>
                  </a:gs>
                </a:gsLst>
                <a:lin ang="3000000" scaled="0"/>
              </a:gradFill>
              <a:latin typeface="Graphik Semibold" panose="020B05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854580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017483A-54CF-4860-A416-CB8A0CD46A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16108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017483A-54CF-4860-A416-CB8A0CD46A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DF9EB10-3217-45F9-A25C-0E84881346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600" b="1" i="0" baseline="0">
              <a:latin typeface="Graphik" panose="020B0503030202060203" pitchFamily="34" charset="0"/>
              <a:ea typeface="+mj-ea"/>
              <a:cs typeface="+mj-cs"/>
              <a:sym typeface="Graphik" panose="020B0503030202060203" pitchFamily="34" charset="0"/>
            </a:endParaRPr>
          </a:p>
        </p:txBody>
      </p:sp>
      <p:sp>
        <p:nvSpPr>
          <p:cNvPr id="3" name="Rahmen 2">
            <a:extLst>
              <a:ext uri="{FF2B5EF4-FFF2-40B4-BE49-F238E27FC236}">
                <a16:creationId xmlns:a16="http://schemas.microsoft.com/office/drawing/2014/main" id="{CA8DEEB0-7BA7-B8F4-B684-0CB4BEA1250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833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99AFFE1E-6FAE-4E66-A6F2-085B7A9F6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Place headline here (36pt, min 30pt)</a:t>
            </a:r>
            <a:endParaRPr lang="en-US">
              <a:gradFill>
                <a:gsLst>
                  <a:gs pos="0">
                    <a:srgbClr val="82F5D3"/>
                  </a:gs>
                  <a:gs pos="25000">
                    <a:srgbClr val="87D1DA"/>
                  </a:gs>
                  <a:gs pos="75000">
                    <a:srgbClr val="917CE8"/>
                  </a:gs>
                  <a:gs pos="49000">
                    <a:srgbClr val="8DA5E2"/>
                  </a:gs>
                  <a:gs pos="100000">
                    <a:srgbClr val="9C25F9"/>
                  </a:gs>
                </a:gsLst>
                <a:lin ang="3000000" scaled="0"/>
              </a:gradFill>
              <a:latin typeface="Graphik Semibold" panose="020B05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9942349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77800" marR="0" lvl="0" indent="-177800" algn="l" defTabSz="2286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-Light" panose="020B0403030202060203" pitchFamily="34" charset="0"/>
                <a:ea typeface="+mn-ea"/>
                <a:cs typeface="+mn-cs"/>
              </a:rPr>
              <a:t>Click to edit Master text styles</a:t>
            </a:r>
          </a:p>
          <a:p>
            <a:pPr marL="361950" marR="0" lvl="1" indent="-18415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503030202060203" pitchFamily="34" charset="0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-Light" panose="020B0403030202060203" pitchFamily="34" charset="0"/>
                <a:ea typeface="+mn-ea"/>
                <a:cs typeface="+mn-cs"/>
              </a:rPr>
              <a:t>Second level</a:t>
            </a:r>
          </a:p>
          <a:p>
            <a:pPr marL="539750" marR="0" lvl="2" indent="-17780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-Light" panose="020B0403030202060203" pitchFamily="34" charset="0"/>
                <a:ea typeface="+mn-ea"/>
                <a:cs typeface="+mn-cs"/>
              </a:rPr>
              <a:t>Third level</a:t>
            </a:r>
          </a:p>
          <a:p>
            <a:pPr marL="914400" marR="0" lvl="3" indent="-22860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urth level</a:t>
            </a:r>
          </a:p>
          <a:p>
            <a:pPr marL="1143000" marR="0" lvl="4" indent="-22860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ifth level</a:t>
            </a:r>
            <a:endParaRPr lang="en-GB" dirty="0"/>
          </a:p>
          <a:p>
            <a:pPr lvl="8"/>
            <a:endParaRPr lang="en-US" dirty="0"/>
          </a:p>
        </p:txBody>
      </p:sp>
      <p:sp>
        <p:nvSpPr>
          <p:cNvPr id="9" name="GTS_Purple">
            <a:extLst>
              <a:ext uri="{FF2B5EF4-FFF2-40B4-BE49-F238E27FC236}">
                <a16:creationId xmlns:a16="http://schemas.microsoft.com/office/drawing/2014/main" id="{AE0355C2-058C-4310-9508-BCC0F498FB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0209" y="6483675"/>
            <a:ext cx="183202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A100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9551016B-4D99-C54D-3EE2-986123FAD81F}"/>
              </a:ext>
            </a:extLst>
          </p:cNvPr>
          <p:cNvSpPr txBox="1">
            <a:spLocks/>
          </p:cNvSpPr>
          <p:nvPr userDrawn="1"/>
        </p:nvSpPr>
        <p:spPr>
          <a:xfrm>
            <a:off x="11484746" y="6488731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90D44011-362D-6DFA-D372-A4FA08AD1CA3}"/>
              </a:ext>
            </a:extLst>
          </p:cNvPr>
          <p:cNvSpPr txBox="1">
            <a:spLocks/>
          </p:cNvSpPr>
          <p:nvPr userDrawn="1"/>
        </p:nvSpPr>
        <p:spPr>
          <a:xfrm>
            <a:off x="7315200" y="6486940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3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72931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734" r:id="rId2"/>
    <p:sldLayoutId id="2147483735" r:id="rId3"/>
    <p:sldLayoutId id="2147483704" r:id="rId4"/>
    <p:sldLayoutId id="2147483675" r:id="rId5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63550" indent="-28575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47700" indent="-28575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200150" indent="-28575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171450" indent="-17145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C35EA4"/>
          </p15:clr>
        </p15:guide>
        <p15:guide id="2" orient="horz" pos="3976">
          <p15:clr>
            <a:srgbClr val="C35EA4"/>
          </p15:clr>
        </p15:guide>
        <p15:guide id="3" pos="240">
          <p15:clr>
            <a:srgbClr val="C35EA4"/>
          </p15:clr>
        </p15:guide>
        <p15:guide id="4" pos="7440">
          <p15:clr>
            <a:srgbClr val="C35EA4"/>
          </p15:clr>
        </p15:guide>
      </p15:sldGuideLst>
    </p:ext>
  </p:extLst>
</p:sldMaster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k2ZZQqXETjFXydhg0WCQ"/>
</p:tagLst>
</file>

<file path=ppt/theme/theme1.xml><?xml version="1.0" encoding="utf-8"?>
<a:theme xmlns:a="http://schemas.openxmlformats.org/drawingml/2006/main" name="Accenture 2022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Custom 2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template1" id="{D1BD6A58-DCB7-0149-BF3C-B7BF07264C4D}" vid="{24EC239B-D9CA-F542-8EFD-BA0875A2BBC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44</TotalTime>
  <Words>0</Words>
  <Application>Microsoft Macintosh PowerPoint</Application>
  <PresentationFormat>Widescreen</PresentationFormat>
  <Paragraphs>0</Paragraphs>
  <Slides>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0</vt:i4>
      </vt:variant>
    </vt:vector>
  </HeadingPairs>
  <TitlesOfParts>
    <vt:vector size="9" baseType="lpstr">
      <vt:lpstr>Arial</vt:lpstr>
      <vt:lpstr>Calibri</vt:lpstr>
      <vt:lpstr>Graphik</vt:lpstr>
      <vt:lpstr>Graphik Light</vt:lpstr>
      <vt:lpstr>Graphik Medium</vt:lpstr>
      <vt:lpstr>Graphik Semibold</vt:lpstr>
      <vt:lpstr>Graphik-Light</vt:lpstr>
      <vt:lpstr>Accenture 2022</vt:lpstr>
      <vt:lpstr>think-cell Foli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n AI Overview</dc:title>
  <dc:creator>Zhang, Bo</dc:creator>
  <cp:lastModifiedBy>Zhang, Bo</cp:lastModifiedBy>
  <cp:revision>16</cp:revision>
  <dcterms:created xsi:type="dcterms:W3CDTF">2023-11-18T19:38:31Z</dcterms:created>
  <dcterms:modified xsi:type="dcterms:W3CDTF">2023-11-19T05:37:40Z</dcterms:modified>
</cp:coreProperties>
</file>